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3" r:id="rId1"/>
  </p:sldMasterIdLst>
  <p:sldIdLst>
    <p:sldId id="256" r:id="rId2"/>
    <p:sldId id="271" r:id="rId3"/>
  </p:sldIdLst>
  <p:sldSz cx="9144000" cy="6858000" type="screen4x3"/>
  <p:notesSz cx="9144000" cy="6858000"/>
  <p:custDataLst>
    <p:tags r:id="rId4"/>
  </p:custDataLst>
  <p:defaultTextStyle>
    <a:defPPr>
      <a:defRPr lang="es-P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8" d="100"/>
          <a:sy n="68" d="100"/>
        </p:scale>
        <p:origin x="1446" y="72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A8B99F5-FAE0-4385-9663-D2316A87B00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B77DFFE-C3BC-45E1-8F73-290A4968E6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s-ES"/>
              <a:t>Haga clic para modificar el estilo de subtítulo del patrón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3EF88B91-A6F2-468E-BD02-68C93529A5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1/2/2018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9422F063-9425-4E37-9FD7-0773BC4225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BFB0B4E-099F-4697-93A7-2089C7C679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25400">
              <a:lnSpc>
                <a:spcPts val="1240"/>
              </a:lnSpc>
            </a:pPr>
            <a:fld id="{81D60167-4931-47E6-BA6A-407CBD079E47}" type="slidenum">
              <a:rPr lang="es-PE" spc="-60" smtClean="0"/>
              <a:t>‹Nº›</a:t>
            </a:fld>
            <a:endParaRPr lang="es-PE" spc="-60" dirty="0"/>
          </a:p>
        </p:txBody>
      </p:sp>
    </p:spTree>
    <p:extLst>
      <p:ext uri="{BB962C8B-B14F-4D97-AF65-F5344CB8AC3E}">
        <p14:creationId xmlns:p14="http://schemas.microsoft.com/office/powerpoint/2010/main" val="40536555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6CC45C8-710D-4B55-B5A8-37D28E7A65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57169485-43A3-4A06-86FE-50EACA74D0A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413AFFC-0ADD-4851-9B19-2F185343C5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1/2/2018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BBBAAA7-E714-460C-8CCC-0B15D8D7F5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576AE2D-CDA8-41C5-AEBB-F3F7871842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25400">
              <a:lnSpc>
                <a:spcPts val="1240"/>
              </a:lnSpc>
            </a:pPr>
            <a:fld id="{81D60167-4931-47E6-BA6A-407CBD079E47}" type="slidenum">
              <a:rPr lang="es-PE" spc="-60" smtClean="0"/>
              <a:t>‹Nº›</a:t>
            </a:fld>
            <a:endParaRPr lang="es-PE" spc="-60" dirty="0"/>
          </a:p>
        </p:txBody>
      </p:sp>
    </p:spTree>
    <p:extLst>
      <p:ext uri="{BB962C8B-B14F-4D97-AF65-F5344CB8AC3E}">
        <p14:creationId xmlns:p14="http://schemas.microsoft.com/office/powerpoint/2010/main" val="15658604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8009BDB1-5F24-4A39-8DBD-B3306982A5B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37B516DF-521B-4F54-BB51-3C19695DBB6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F3891CC-DA42-4805-81AA-EF1E901183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1/2/2018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FF7F052-1B8F-44DD-BB99-5ADBB7C740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F6924947-AB8E-49B5-83EE-6BD88057E2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25400">
              <a:lnSpc>
                <a:spcPts val="1240"/>
              </a:lnSpc>
            </a:pPr>
            <a:fld id="{81D60167-4931-47E6-BA6A-407CBD079E47}" type="slidenum">
              <a:rPr lang="es-PE" spc="-60" smtClean="0"/>
              <a:t>‹Nº›</a:t>
            </a:fld>
            <a:endParaRPr lang="es-PE" spc="-60" dirty="0"/>
          </a:p>
        </p:txBody>
      </p:sp>
    </p:spTree>
    <p:extLst>
      <p:ext uri="{BB962C8B-B14F-4D97-AF65-F5344CB8AC3E}">
        <p14:creationId xmlns:p14="http://schemas.microsoft.com/office/powerpoint/2010/main" val="25147224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A736BD8-0113-49FE-8068-AC7EC5E52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78105010-C968-4222-8696-175E3FDDFB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E56D597-618E-4A8D-98AE-592AB3C0BC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1/2/2018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354AB7A-5238-48A2-963B-998082E29B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A87E01C-A8B0-4975-9D43-740B15A9F0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25400">
              <a:lnSpc>
                <a:spcPts val="1240"/>
              </a:lnSpc>
            </a:pPr>
            <a:fld id="{81D60167-4931-47E6-BA6A-407CBD079E47}" type="slidenum">
              <a:rPr lang="es-PE" spc="-60" smtClean="0"/>
              <a:t>‹Nº›</a:t>
            </a:fld>
            <a:endParaRPr lang="es-PE" spc="-60" dirty="0"/>
          </a:p>
        </p:txBody>
      </p:sp>
    </p:spTree>
    <p:extLst>
      <p:ext uri="{BB962C8B-B14F-4D97-AF65-F5344CB8AC3E}">
        <p14:creationId xmlns:p14="http://schemas.microsoft.com/office/powerpoint/2010/main" val="24159844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33C3C6B-5714-4E8A-953C-D887F1DF55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46CCD868-4942-4B02-9274-FD8344AB4A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BB163A1-21A3-4615-84C9-CBA64C1DD0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1/2/2018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E5F988F-794F-42B7-8532-9AFA006636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B22EBFB-DE8F-45F7-8A45-D1C46197DB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25400">
              <a:lnSpc>
                <a:spcPts val="1240"/>
              </a:lnSpc>
            </a:pPr>
            <a:fld id="{81D60167-4931-47E6-BA6A-407CBD079E47}" type="slidenum">
              <a:rPr lang="es-PE" spc="-60" smtClean="0"/>
              <a:t>‹Nº›</a:t>
            </a:fld>
            <a:endParaRPr lang="es-PE" spc="-60" dirty="0"/>
          </a:p>
        </p:txBody>
      </p:sp>
    </p:spTree>
    <p:extLst>
      <p:ext uri="{BB962C8B-B14F-4D97-AF65-F5344CB8AC3E}">
        <p14:creationId xmlns:p14="http://schemas.microsoft.com/office/powerpoint/2010/main" val="13431961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669D012-B2C6-4422-BD0D-5D8EC89296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20BC7F5A-4433-4E76-9837-93E0949B71B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08ECC386-1E56-4510-B97F-B3A56E799A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433D6C3D-7B2C-4F13-AA49-41A4D97FAB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1/2/2018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4A62C715-91DC-4C0C-BA6C-D0627678DE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86206582-7D13-4B4A-8BBD-12E4C3BBAF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25400">
              <a:lnSpc>
                <a:spcPts val="1240"/>
              </a:lnSpc>
            </a:pPr>
            <a:fld id="{81D60167-4931-47E6-BA6A-407CBD079E47}" type="slidenum">
              <a:rPr lang="es-PE" spc="-60" smtClean="0"/>
              <a:t>‹Nº›</a:t>
            </a:fld>
            <a:endParaRPr lang="es-PE" spc="-60" dirty="0"/>
          </a:p>
        </p:txBody>
      </p:sp>
    </p:spTree>
    <p:extLst>
      <p:ext uri="{BB962C8B-B14F-4D97-AF65-F5344CB8AC3E}">
        <p14:creationId xmlns:p14="http://schemas.microsoft.com/office/powerpoint/2010/main" val="16617574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24CC20A-BCC7-432F-BBBC-A16EDAAF44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C29DF39-19F4-4269-8B51-40BCCBBA86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37FC35D8-5406-4333-9CE8-A7A6D416B1B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B34D26E4-E490-4E0B-AB5C-B3FE1419AE2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3CCB00E7-59B2-41D4-A792-0F9F5B87240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F21D1942-AF6A-4F45-A9E4-61F5EDBD98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1/2/2018</a:t>
            </a:fld>
            <a:endParaRPr lang="en-US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FED32721-56C6-422F-95EE-04111845E1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39261B92-6485-4279-9767-5CC73A5F0C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25400">
              <a:lnSpc>
                <a:spcPts val="1240"/>
              </a:lnSpc>
            </a:pPr>
            <a:fld id="{81D60167-4931-47E6-BA6A-407CBD079E47}" type="slidenum">
              <a:rPr lang="es-PE" spc="-60" smtClean="0"/>
              <a:t>‹Nº›</a:t>
            </a:fld>
            <a:endParaRPr lang="es-PE" spc="-60" dirty="0"/>
          </a:p>
        </p:txBody>
      </p:sp>
    </p:spTree>
    <p:extLst>
      <p:ext uri="{BB962C8B-B14F-4D97-AF65-F5344CB8AC3E}">
        <p14:creationId xmlns:p14="http://schemas.microsoft.com/office/powerpoint/2010/main" val="41131446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778D7DB-6AA3-4DBF-B3C5-47617A3432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5E544664-3FE9-4BF6-8F4C-5C03E33209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1/2/2018</a:t>
            </a:fld>
            <a:endParaRPr lang="en-U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648B61F2-DBE5-418D-84D2-4DAE2D758C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B3C1229B-A9E6-4043-97EF-A1A1ECDC8A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25400">
              <a:lnSpc>
                <a:spcPts val="1240"/>
              </a:lnSpc>
            </a:pPr>
            <a:fld id="{81D60167-4931-47E6-BA6A-407CBD079E47}" type="slidenum">
              <a:rPr lang="es-PE" spc="-60" smtClean="0"/>
              <a:t>‹Nº›</a:t>
            </a:fld>
            <a:endParaRPr lang="es-PE" spc="-60" dirty="0"/>
          </a:p>
        </p:txBody>
      </p:sp>
    </p:spTree>
    <p:extLst>
      <p:ext uri="{BB962C8B-B14F-4D97-AF65-F5344CB8AC3E}">
        <p14:creationId xmlns:p14="http://schemas.microsoft.com/office/powerpoint/2010/main" val="41243689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D1F20552-11BF-48E9-B719-FDA30A3761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1/2/2018</a:t>
            </a:fld>
            <a:endParaRPr lang="en-US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F7A0B356-50DA-4BC1-9FA0-F28A8C481B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151F9EEE-FF6F-4605-825F-D6C6DDACDA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25400">
              <a:lnSpc>
                <a:spcPts val="1240"/>
              </a:lnSpc>
            </a:pPr>
            <a:fld id="{81D60167-4931-47E6-BA6A-407CBD079E47}" type="slidenum">
              <a:rPr lang="es-PE" spc="-60" smtClean="0"/>
              <a:t>‹Nº›</a:t>
            </a:fld>
            <a:endParaRPr lang="es-PE" spc="-60" dirty="0"/>
          </a:p>
        </p:txBody>
      </p:sp>
    </p:spTree>
    <p:extLst>
      <p:ext uri="{BB962C8B-B14F-4D97-AF65-F5344CB8AC3E}">
        <p14:creationId xmlns:p14="http://schemas.microsoft.com/office/powerpoint/2010/main" val="14768452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819EAF-E83D-496C-9EA5-19A933D71F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F72E1D9D-ED58-4543-94BE-C86E6B06ED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8A0B31DD-CB72-4B0B-A170-5922327C61C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FE68463D-662B-429D-99C1-D1275B6BCC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1/2/2018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A4D8D98E-9558-40BB-9A5D-66B20D8F6E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6483CE3E-60C6-4CA4-9159-CBB02EDBDC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25400">
              <a:lnSpc>
                <a:spcPts val="1240"/>
              </a:lnSpc>
            </a:pPr>
            <a:fld id="{81D60167-4931-47E6-BA6A-407CBD079E47}" type="slidenum">
              <a:rPr lang="es-PE" spc="-60" smtClean="0"/>
              <a:t>‹Nº›</a:t>
            </a:fld>
            <a:endParaRPr lang="es-PE" spc="-60" dirty="0"/>
          </a:p>
        </p:txBody>
      </p:sp>
    </p:spTree>
    <p:extLst>
      <p:ext uri="{BB962C8B-B14F-4D97-AF65-F5344CB8AC3E}">
        <p14:creationId xmlns:p14="http://schemas.microsoft.com/office/powerpoint/2010/main" val="40914998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BD1B0C1-33F1-4B2B-9DE1-F0A95ED9DD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E91F96B2-D8E0-4857-851F-7EC8045E499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s-PE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F032FEB5-82CF-48C4-93A2-5AA19A8D473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7AAAC72C-AFB5-42DE-9981-E15EFF933F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1/2/2018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5E7AF63B-3A7E-477C-80BA-40DDBD5393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2E49A10F-71D6-4EA6-B32B-F48A7A1406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25400">
              <a:lnSpc>
                <a:spcPts val="1240"/>
              </a:lnSpc>
            </a:pPr>
            <a:fld id="{81D60167-4931-47E6-BA6A-407CBD079E47}" type="slidenum">
              <a:rPr lang="es-PE" spc="-60" smtClean="0"/>
              <a:t>‹Nº›</a:t>
            </a:fld>
            <a:endParaRPr lang="es-PE" spc="-60" dirty="0"/>
          </a:p>
        </p:txBody>
      </p:sp>
    </p:spTree>
    <p:extLst>
      <p:ext uri="{BB962C8B-B14F-4D97-AF65-F5344CB8AC3E}">
        <p14:creationId xmlns:p14="http://schemas.microsoft.com/office/powerpoint/2010/main" val="31207120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31E670B9-C689-47BB-98DE-9EF06E9B58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DE0235F-3A5A-4511-A951-C58A5AB642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C875B82-8C52-4888-91C5-BFA46FAB8F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11/2/2018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14119C3-9F59-4437-8725-06141E664D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F2C24C4D-5665-4F0E-9A46-7B78363CB3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25400">
              <a:lnSpc>
                <a:spcPts val="1240"/>
              </a:lnSpc>
            </a:pPr>
            <a:fld id="{81D60167-4931-47E6-BA6A-407CBD079E47}" type="slidenum">
              <a:rPr lang="es-PE" spc="-60" smtClean="0"/>
              <a:t>‹Nº›</a:t>
            </a:fld>
            <a:endParaRPr lang="es-PE" spc="-60" dirty="0"/>
          </a:p>
        </p:txBody>
      </p:sp>
    </p:spTree>
    <p:extLst>
      <p:ext uri="{BB962C8B-B14F-4D97-AF65-F5344CB8AC3E}">
        <p14:creationId xmlns:p14="http://schemas.microsoft.com/office/powerpoint/2010/main" val="29555179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2390901" y="3259582"/>
            <a:ext cx="4363720" cy="6965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4400" b="1" spc="-395" dirty="0">
                <a:solidFill>
                  <a:srgbClr val="FFFFFF"/>
                </a:solidFill>
                <a:latin typeface="Trebuchet MS"/>
                <a:cs typeface="Trebuchet MS"/>
              </a:rPr>
              <a:t>1. </a:t>
            </a:r>
            <a:r>
              <a:rPr sz="4400" b="1" spc="-245" dirty="0">
                <a:solidFill>
                  <a:srgbClr val="FFFFFF"/>
                </a:solidFill>
                <a:latin typeface="Trebuchet MS"/>
                <a:cs typeface="Trebuchet MS"/>
              </a:rPr>
              <a:t>Introducción </a:t>
            </a:r>
            <a:r>
              <a:rPr sz="4400" b="1" spc="-170" dirty="0">
                <a:solidFill>
                  <a:srgbClr val="FFFFFF"/>
                </a:solidFill>
                <a:latin typeface="Trebuchet MS"/>
                <a:cs typeface="Trebuchet MS"/>
              </a:rPr>
              <a:t>a</a:t>
            </a:r>
            <a:r>
              <a:rPr sz="4400" b="1" spc="-420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4400" b="1" spc="-210" dirty="0">
                <a:solidFill>
                  <a:srgbClr val="FFFFFF"/>
                </a:solidFill>
                <a:latin typeface="Trebuchet MS"/>
                <a:cs typeface="Trebuchet MS"/>
              </a:rPr>
              <a:t>R</a:t>
            </a:r>
            <a:endParaRPr sz="4400">
              <a:latin typeface="Trebuchet MS"/>
              <a:cs typeface="Trebuchet MS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0" y="0"/>
            <a:ext cx="9145524" cy="685800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345440" y="2115058"/>
            <a:ext cx="3557270" cy="665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s-PE" sz="4200" dirty="0">
                <a:solidFill>
                  <a:srgbClr val="FFFFFF"/>
                </a:solidFill>
                <a:latin typeface="Arial"/>
                <a:cs typeface="Arial"/>
              </a:rPr>
              <a:t>Taller Final</a:t>
            </a:r>
            <a:endParaRPr sz="4200" dirty="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698BB16-97CF-430E-B4EA-7DD6FE2786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7041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Diapositiva de think-cell" r:id="rId4" imgW="421" imgH="423" progId="TCLayout.ActiveDocument.1">
                  <p:embed/>
                </p:oleObj>
              </mc:Choice>
              <mc:Fallback>
                <p:oleObj name="Diapositiva de think-cell" r:id="rId4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/>
          <p:nvPr/>
        </p:nvSpPr>
        <p:spPr>
          <a:xfrm>
            <a:off x="364642" y="4672329"/>
            <a:ext cx="8415020" cy="124393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just">
              <a:lnSpc>
                <a:spcPct val="100000"/>
              </a:lnSpc>
              <a:spcBef>
                <a:spcPts val="100"/>
              </a:spcBef>
            </a:pPr>
            <a:r>
              <a:rPr lang="es-PE" sz="2000" spc="-204" dirty="0">
                <a:solidFill>
                  <a:srgbClr val="1F487C"/>
                </a:solidFill>
                <a:latin typeface="Arial"/>
                <a:cs typeface="Arial"/>
              </a:rPr>
              <a:t>De una compañía de Telefonía, e</a:t>
            </a:r>
            <a:r>
              <a:rPr sz="2000" spc="-204" dirty="0">
                <a:solidFill>
                  <a:srgbClr val="1F487C"/>
                </a:solidFill>
                <a:latin typeface="Arial"/>
                <a:cs typeface="Arial"/>
              </a:rPr>
              <a:t>n </a:t>
            </a:r>
            <a:r>
              <a:rPr sz="2000" spc="-140" dirty="0">
                <a:solidFill>
                  <a:srgbClr val="1F487C"/>
                </a:solidFill>
                <a:latin typeface="Arial"/>
                <a:cs typeface="Arial"/>
              </a:rPr>
              <a:t>base </a:t>
            </a:r>
            <a:r>
              <a:rPr sz="2000" spc="-155" dirty="0">
                <a:solidFill>
                  <a:srgbClr val="1F487C"/>
                </a:solidFill>
                <a:latin typeface="Arial"/>
                <a:cs typeface="Arial"/>
              </a:rPr>
              <a:t>a </a:t>
            </a:r>
            <a:r>
              <a:rPr lang="es-PE" sz="2000" spc="-60" dirty="0">
                <a:solidFill>
                  <a:srgbClr val="1F487C"/>
                </a:solidFill>
                <a:latin typeface="Arial"/>
                <a:cs typeface="Arial"/>
              </a:rPr>
              <a:t>información del cliente, tráfico de minutos y tráfico de datos. Elaborar un modelo predictivo que pueda determinar si un cliente va a realizar una recarga de datos de internet o no la va a realizar. Evaluar los resultados en base a su </a:t>
            </a:r>
            <a:r>
              <a:rPr lang="es-PE" sz="2000" spc="-60" dirty="0" err="1">
                <a:solidFill>
                  <a:srgbClr val="1F487C"/>
                </a:solidFill>
                <a:latin typeface="Arial"/>
                <a:cs typeface="Arial"/>
              </a:rPr>
              <a:t>accuracy</a:t>
            </a:r>
            <a:r>
              <a:rPr lang="es-PE" sz="2000" spc="-60" dirty="0">
                <a:solidFill>
                  <a:srgbClr val="1F487C"/>
                </a:solidFill>
                <a:latin typeface="Arial"/>
                <a:cs typeface="Arial"/>
              </a:rPr>
              <a:t> (precisión).</a:t>
            </a:r>
            <a:endParaRPr sz="2000" dirty="0">
              <a:latin typeface="Arial"/>
              <a:cs typeface="Arial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6795261" y="179959"/>
            <a:ext cx="1985645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s-PE" spc="-135" dirty="0"/>
              <a:t>Taller Final</a:t>
            </a:r>
            <a:endParaRPr spc="-180" dirty="0"/>
          </a:p>
        </p:txBody>
      </p:sp>
      <p:sp>
        <p:nvSpPr>
          <p:cNvPr id="6" name="object 6"/>
          <p:cNvSpPr txBox="1"/>
          <p:nvPr/>
        </p:nvSpPr>
        <p:spPr>
          <a:xfrm>
            <a:off x="390042" y="6458813"/>
            <a:ext cx="206375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ts val="1240"/>
              </a:lnSpc>
            </a:pPr>
            <a:fld id="{81D60167-4931-47E6-BA6A-407CBD079E47}" type="slidenum">
              <a:rPr sz="1200" spc="-60" dirty="0">
                <a:solidFill>
                  <a:srgbClr val="888888"/>
                </a:solidFill>
                <a:latin typeface="Arial"/>
                <a:cs typeface="Arial"/>
              </a:rPr>
              <a:t>2</a:t>
            </a:fld>
            <a:endParaRPr sz="1200">
              <a:latin typeface="Arial"/>
              <a:cs typeface="Arial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6C7B22C1-DBEE-4259-8ED1-1BC7EC367AF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07442" y="862329"/>
            <a:ext cx="4541839" cy="3810000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</TotalTime>
  <Words>69</Words>
  <Application>Microsoft Office PowerPoint</Application>
  <PresentationFormat>Presentación en pantalla (4:3)</PresentationFormat>
  <Paragraphs>5</Paragraphs>
  <Slides>2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</vt:i4>
      </vt:variant>
    </vt:vector>
  </HeadingPairs>
  <TitlesOfParts>
    <vt:vector size="8" baseType="lpstr">
      <vt:lpstr>Arial</vt:lpstr>
      <vt:lpstr>Calibri</vt:lpstr>
      <vt:lpstr>Calibri Light</vt:lpstr>
      <vt:lpstr>Trebuchet MS</vt:lpstr>
      <vt:lpstr>Tema de Office</vt:lpstr>
      <vt:lpstr>Diapositiva de think-cell</vt:lpstr>
      <vt:lpstr>Presentación de PowerPoint</vt:lpstr>
      <vt:lpstr>Taller Final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jonny</dc:creator>
  <cp:lastModifiedBy>Valencia Marin, Cesar</cp:lastModifiedBy>
  <cp:revision>5</cp:revision>
  <dcterms:created xsi:type="dcterms:W3CDTF">2018-07-14T00:36:28Z</dcterms:created>
  <dcterms:modified xsi:type="dcterms:W3CDTF">2018-11-03T02:52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7-06-14T00:00:00Z</vt:filetime>
  </property>
  <property fmtid="{D5CDD505-2E9C-101B-9397-08002B2CF9AE}" pid="3" name="Creator">
    <vt:lpwstr>Microsoft® PowerPoint® 2013</vt:lpwstr>
  </property>
  <property fmtid="{D5CDD505-2E9C-101B-9397-08002B2CF9AE}" pid="4" name="LastSaved">
    <vt:filetime>2018-07-14T00:00:00Z</vt:filetime>
  </property>
</Properties>
</file>